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39E6CCCD-2A21-4E40-A74B-EECB7E4E3F8F}">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91878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4220118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008990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896208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99609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45985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865376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737683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604843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105812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732758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0492798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473863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413013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252118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9994638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405497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682600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794245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801226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1294693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308693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2442824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774539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421802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4/2025</a:t>
            </a:fld>
            <a:endParaRPr lang="en-US" sz="500"/>
          </a:p>
        </p:txBody>
      </p:sp>
    </p:spTree>
    <p:extLst>
      <p:ext uri="{BB962C8B-B14F-4D97-AF65-F5344CB8AC3E}">
        <p14:creationId xmlns:p14="http://schemas.microsoft.com/office/powerpoint/2010/main" val="3479122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186</Words>
  <Application>Microsoft Office PowerPoint</Application>
  <PresentationFormat>On-screen Show (16:9)</PresentationFormat>
  <Paragraphs>2106</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